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9"/>
  </p:notesMasterIdLst>
  <p:handoutMasterIdLst>
    <p:handoutMasterId r:id="rId20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59" r:id="rId13"/>
    <p:sldId id="745" r:id="rId14"/>
    <p:sldId id="760" r:id="rId15"/>
    <p:sldId id="757" r:id="rId16"/>
    <p:sldId id="761" r:id="rId17"/>
    <p:sldId id="738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59"/>
            <p14:sldId id="745"/>
            <p14:sldId id="760"/>
            <p14:sldId id="757"/>
            <p14:sldId id="761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28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7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0.141602634467618"/>
          <c:w val="0.89516129032258063"/>
          <c:h val="0.716794731064763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8183361629881154"/>
                  <c:y val="2.195389681668496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39-4269-89B1-CA7FD25213C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8811544991511036"/>
                  <c:y val="2.195389681668496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039-4269-89B1-CA7FD25213C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6.6</c:v>
                </c:pt>
                <c:pt idx="1">
                  <c:v>86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039-4269-89B1-CA7FD25213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834896"/>
        <c:axId val="351838816"/>
      </c:barChart>
      <c:catAx>
        <c:axId val="3518348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1838816"/>
        <c:crosses val="min"/>
        <c:auto val="0"/>
        <c:lblAlgn val="ctr"/>
        <c:lblOffset val="100"/>
        <c:noMultiLvlLbl val="0"/>
      </c:catAx>
      <c:valAx>
        <c:axId val="351838816"/>
        <c:scaling>
          <c:orientation val="minMax"/>
          <c:max val="86.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1834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3B6-49B3-A66A-D510C4A76F7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3B6-49B3-A66A-D510C4A76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835288"/>
        <c:axId val="351835680"/>
      </c:barChart>
      <c:catAx>
        <c:axId val="3518352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1835680"/>
        <c:crosses val="min"/>
        <c:auto val="0"/>
        <c:lblAlgn val="ctr"/>
        <c:lblOffset val="100"/>
        <c:noMultiLvlLbl val="0"/>
      </c:catAx>
      <c:valAx>
        <c:axId val="351835680"/>
        <c:scaling>
          <c:orientation val="minMax"/>
          <c:max val="25.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1835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22872340425531915"/>
          <c:w val="0.46327077747989276"/>
          <c:h val="0.542553191489361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3.546099290780141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6C1-41DA-ABB9-D3E0BF25C87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409.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C1-41DA-ABB9-D3E0BF25C8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839208"/>
        <c:axId val="351836464"/>
      </c:barChart>
      <c:catAx>
        <c:axId val="3518392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1836464"/>
        <c:crosses val="min"/>
        <c:auto val="0"/>
        <c:lblAlgn val="ctr"/>
        <c:lblOffset val="100"/>
        <c:noMultiLvlLbl val="0"/>
      </c:catAx>
      <c:valAx>
        <c:axId val="351836464"/>
        <c:scaling>
          <c:orientation val="minMax"/>
          <c:max val="3409.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1839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23201438848920863"/>
          <c:w val="0.26809651474530832"/>
          <c:h val="0.535971223021582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597122302158273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9F7-4B15-A4E8-C74B8D59BBD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832.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9F7-4B15-A4E8-C74B8D59BB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833720"/>
        <c:axId val="351837640"/>
      </c:barChart>
      <c:catAx>
        <c:axId val="3518337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51837640"/>
        <c:crosses val="min"/>
        <c:auto val="0"/>
        <c:lblAlgn val="ctr"/>
        <c:lblOffset val="100"/>
        <c:noMultiLvlLbl val="0"/>
      </c:catAx>
      <c:valAx>
        <c:axId val="351837640"/>
        <c:scaling>
          <c:orientation val="minMax"/>
          <c:max val="1832.6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1833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2179054054054054"/>
          <c:w val="0.8309222423146474"/>
          <c:h val="0.564189189189189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3.378378378378378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433-4AA9-B8EB-5170530498BD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40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433-4AA9-B8EB-5170530498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511144"/>
        <c:axId val="431515456"/>
      </c:barChart>
      <c:catAx>
        <c:axId val="4315111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31515456"/>
        <c:crosses val="min"/>
        <c:auto val="0"/>
        <c:lblAlgn val="ctr"/>
        <c:lblOffset val="100"/>
        <c:noMultiLvlLbl val="0"/>
      </c:catAx>
      <c:valAx>
        <c:axId val="431515456"/>
        <c:scaling>
          <c:orientation val="minMax"/>
          <c:max val="40.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31511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F6CE-462F-AAE0-18EC21893D1C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6CE-462F-AAE0-18EC21893D1C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F6CE-462F-AAE0-18EC21893D1C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6CE-462F-AAE0-18EC21893D1C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F6CE-462F-AAE0-18EC21893D1C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6CE-462F-AAE0-18EC21893D1C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55.801235393634187</c:v>
                </c:pt>
                <c:pt idx="1">
                  <c:v>7.1487587048038721</c:v>
                </c:pt>
                <c:pt idx="2">
                  <c:v>2.3252154070110556</c:v>
                </c:pt>
                <c:pt idx="3">
                  <c:v>27.650784907738913</c:v>
                </c:pt>
                <c:pt idx="4">
                  <c:v>6.8379431089428326</c:v>
                </c:pt>
                <c:pt idx="5">
                  <c:v>0.23606247786914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6CE-462F-AAE0-18EC21893D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900" b="0"/>
            </a:pPr>
            <a:endParaRPr lang="ru-RU" sz="900" b="0"/>
          </a:p>
          <a:p>
            <a:pPr>
              <a:defRPr sz="900" b="0"/>
            </a:pPr>
            <a:r>
              <a:rPr lang="ru-RU" sz="900" b="0"/>
              <a:t>   </a:t>
            </a:r>
            <a:r>
              <a:rPr lang="en-US" sz="900" b="0"/>
              <a:t>1832.67</a:t>
            </a:r>
          </a:p>
        </c:rich>
      </c:tx>
      <c:layout>
        <c:manualLayout>
          <c:xMode val="edge"/>
          <c:yMode val="edge"/>
          <c:x val="0.1536117836016766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5721393034825873"/>
          <c:y val="0.18235294117647058"/>
          <c:w val="0.71741293532338313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1 832,6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39215686274509803"/>
                </c:manualLayout>
              </c:layout>
              <c:numFmt formatCode="#,##0.00;&quot;-&quot;#,##0.00" sourceLinked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ln>
                <a:noFill/>
              </a:ln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val>
            <c:numRef>
              <c:f>Sheet1!$A$1:$C$1</c:f>
              <c:numCache>
                <c:formatCode>#\ ##0.00;"-"#\ ##0.00</c:formatCode>
                <c:ptCount val="3"/>
                <c:pt idx="0">
                  <c:v>1832.67</c:v>
                </c:pt>
                <c:pt idx="1">
                  <c:v>1908.69</c:v>
                </c:pt>
                <c:pt idx="2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04-4E22-AEB9-E05C81C02B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515064"/>
        <c:axId val="431509576"/>
      </c:barChart>
      <c:catAx>
        <c:axId val="431515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31509576"/>
        <c:crosses val="min"/>
        <c:auto val="0"/>
        <c:lblAlgn val="ctr"/>
        <c:lblOffset val="100"/>
        <c:noMultiLvlLbl val="0"/>
      </c:catAx>
      <c:valAx>
        <c:axId val="431509576"/>
        <c:scaling>
          <c:orientation val="minMax"/>
          <c:max val="1882.82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431515064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lang="ru-RU" sz="900" kern="1200">
          <a:solidFill>
            <a:schemeClr val="tx1"/>
          </a:solidFill>
          <a:latin typeface="+mn-lt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7222222222222222"/>
          <c:w val="0.94825870646766164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#\ ##0.0;"-"#\ ##0.0</c:formatCode>
                <c:ptCount val="3"/>
                <c:pt idx="1">
                  <c:v>26.803000000000001</c:v>
                </c:pt>
                <c:pt idx="2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BA-46A6-BFD0-6429A8460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1512320"/>
        <c:axId val="431517024"/>
      </c:barChart>
      <c:catAx>
        <c:axId val="4315123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rot="-180000" anchor="ctr" anchorCtr="0"/>
          <a:lstStyle/>
          <a:p>
            <a:pPr>
              <a:defRPr/>
            </a:pPr>
            <a:endParaRPr lang="ru-RU"/>
          </a:p>
        </c:txPr>
        <c:crossAx val="431517024"/>
        <c:crosses val="min"/>
        <c:auto val="0"/>
        <c:lblAlgn val="ctr"/>
        <c:lblOffset val="100"/>
        <c:noMultiLvlLbl val="0"/>
      </c:catAx>
      <c:valAx>
        <c:axId val="431517024"/>
        <c:scaling>
          <c:orientation val="minMax"/>
          <c:max val="29.38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431512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5.07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5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5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3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8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0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6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9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3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xmlns="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xmlns="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xmlns="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xmlns="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xmlns="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2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5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9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2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4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8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1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4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image" Target="../media/image1.emf"/><Relationship Id="rId2" Type="http://schemas.openxmlformats.org/officeDocument/2006/relationships/tags" Target="../tags/tag66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4.xml"/><Relationship Id="rId19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Июль 2025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1 полугодия </a:t>
            </a:r>
            <a:r>
              <a:rPr lang="ru-RU" sz="1800" dirty="0" smtClean="0"/>
              <a:t>2025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07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88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6604855"/>
              </p:ext>
            </p:extLst>
          </p:nvPr>
        </p:nvGraphicFramePr>
        <p:xfrm>
          <a:off x="2607224" y="1580356"/>
          <a:ext cx="3190875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30273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037013" y="3030538"/>
            <a:ext cx="521738" cy="317499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r>
              <a:rPr lang="ru-RU" altLang="en-US" sz="900" dirty="0" smtClean="0">
                <a:solidFill>
                  <a:schemeClr val="tx1"/>
                </a:solidFill>
              </a:rPr>
              <a:t>,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 полугодие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4845753" y="3030538"/>
            <a:ext cx="466022" cy="215106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272213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483350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4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41144633"/>
              </p:ext>
            </p:extLst>
          </p:nvPr>
        </p:nvGraphicFramePr>
        <p:xfrm>
          <a:off x="2427377" y="3515431"/>
          <a:ext cx="3190875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302736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0370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045075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484938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7778333" y="1220788"/>
            <a:ext cx="3911358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065335" y="1846263"/>
            <a:ext cx="3736033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494076" y="1827213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3027363" y="2997995"/>
            <a:ext cx="8977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r>
              <a:rPr lang="ru-RU" altLang="en-US" sz="900" dirty="0" smtClean="0"/>
              <a:t>,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/>
              <a:t>1 полугодие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6261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9" y="0"/>
            <a:ext cx="10582275" cy="704850"/>
          </a:xfrm>
        </p:spPr>
        <p:txBody>
          <a:bodyPr/>
          <a:lstStyle/>
          <a:p>
            <a:r>
              <a:rPr lang="ru-RU" dirty="0"/>
              <a:t>Информация об оказываемой услуге – подача воды по распределительным сетям (малая мощность)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17499" y="704850"/>
            <a:ext cx="11633074" cy="6026151"/>
          </a:xfrm>
        </p:spPr>
        <p:txBody>
          <a:bodyPr/>
          <a:lstStyle/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endParaRPr lang="ru-RU" sz="1200" b="1" dirty="0" smtClean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1. Информация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об исполнении утвержденной инвестиционной программы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kern="0" dirty="0">
                <a:cs typeface="Arial" panose="020B0604020202020204" pitchFamily="34" charset="0"/>
              </a:rPr>
              <a:t>Инвестиционная программа уполномоченным органом </a:t>
            </a:r>
            <a:r>
              <a:rPr lang="ru-RU" sz="1400" b="1" kern="0" dirty="0">
                <a:cs typeface="Arial" panose="020B0604020202020204" pitchFamily="34" charset="0"/>
              </a:rPr>
              <a:t>не утверждалась.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 smtClean="0"/>
              <a:t>За 1 полугодие 2025 года </a:t>
            </a:r>
            <a:r>
              <a:rPr lang="ru-RU" sz="1400" dirty="0"/>
              <a:t>фактическая сумма амортизационных отчислений по основным средствам, задействованным при оказании регулируемой услуги, составила </a:t>
            </a:r>
            <a:r>
              <a:rPr lang="ru-RU" sz="1400" b="1" dirty="0" smtClean="0">
                <a:solidFill>
                  <a:schemeClr val="accent1"/>
                </a:solidFill>
              </a:rPr>
              <a:t>4 882,99 </a:t>
            </a:r>
            <a:r>
              <a:rPr lang="ru-RU" sz="1400" dirty="0" smtClean="0"/>
              <a:t>тыс</a:t>
            </a:r>
            <a:r>
              <a:rPr lang="ru-RU" sz="1400" dirty="0"/>
              <a:t>. тенге. В утвержденной  тарифной смете предусмотрена сумма амортизационных отчислений в размере </a:t>
            </a:r>
            <a:r>
              <a:rPr lang="ru-RU" sz="1400" b="1" dirty="0" smtClean="0">
                <a:solidFill>
                  <a:schemeClr val="accent1"/>
                </a:solidFill>
              </a:rPr>
              <a:t>5 </a:t>
            </a:r>
            <a:r>
              <a:rPr lang="ru-RU" sz="1400" b="1" dirty="0">
                <a:solidFill>
                  <a:schemeClr val="accent1"/>
                </a:solidFill>
              </a:rPr>
              <a:t>955 </a:t>
            </a:r>
            <a:r>
              <a:rPr lang="ru-RU" sz="1400" dirty="0"/>
              <a:t>тыс. тенге. </a:t>
            </a: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/>
              <a:t>Сумма амортизационных отчислений, предусмотренная в утвержденной тарифной смете, направлена в </a:t>
            </a:r>
            <a:r>
              <a:rPr lang="ru-RU" sz="1400" dirty="0" smtClean="0"/>
              <a:t>2025 </a:t>
            </a:r>
            <a:r>
              <a:rPr lang="ru-RU" sz="1400" dirty="0"/>
              <a:t>году на выполнение следующих мероприятий по капитальному ремонту на общую сумму </a:t>
            </a:r>
            <a:r>
              <a:rPr lang="ru-RU" sz="1400" b="1" dirty="0" smtClean="0">
                <a:solidFill>
                  <a:schemeClr val="accent1"/>
                </a:solidFill>
              </a:rPr>
              <a:t>14037,5</a:t>
            </a:r>
            <a:r>
              <a:rPr lang="ru-RU" sz="1400" dirty="0" smtClean="0">
                <a:solidFill>
                  <a:schemeClr val="accent1"/>
                </a:solidFill>
              </a:rPr>
              <a:t>8</a:t>
            </a:r>
            <a:r>
              <a:rPr lang="ru-RU" sz="1400" b="1" dirty="0" smtClean="0">
                <a:solidFill>
                  <a:schemeClr val="accent1"/>
                </a:solidFill>
              </a:rPr>
              <a:t> </a:t>
            </a:r>
            <a:r>
              <a:rPr lang="ru-RU" sz="1400" dirty="0" smtClean="0"/>
              <a:t>тыс</a:t>
            </a:r>
            <a:r>
              <a:rPr lang="ru-RU" sz="1400" dirty="0"/>
              <a:t>. тенге:</a:t>
            </a:r>
          </a:p>
          <a:p>
            <a:r>
              <a:rPr lang="ru-RU" sz="1400" dirty="0" smtClean="0"/>
              <a:t>здания фильтровальной станции (внутренние работы), насосов 2 №1,2,3 грязевого насоса №1, насосов перекачки коагулянтов № 1,2, механического фильтра №4, ячейки мокрого хранения коагулянта № 3.</a:t>
            </a:r>
            <a:endParaRPr lang="ru-RU" sz="1400" kern="0" dirty="0">
              <a:cs typeface="Arial" panose="020B0604020202020204" pitchFamily="34" charset="0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не разрабатывались и не  утверждались.</a:t>
            </a:r>
          </a:p>
          <a:p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Информация о постатейном исполнении тарифной сметы за </a:t>
            </a: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Arial (Основной текст)"/>
                <a:ea typeface="Times New Roman"/>
              </a:rPr>
              <a:t>1 полугодие 2025 года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Arial (Основной текст)"/>
              <a:ea typeface="Times New Roman"/>
            </a:endParaRPr>
          </a:p>
          <a:p>
            <a:r>
              <a:rPr lang="ru-RU" sz="1400" dirty="0"/>
              <a:t>Затраты АО «ЕЭК» за 1 полугодие 2025 года на оказание регулируемой услуги </a:t>
            </a:r>
            <a:r>
              <a:rPr lang="ru-RU" sz="1400" dirty="0" smtClean="0"/>
              <a:t>составили </a:t>
            </a:r>
            <a:r>
              <a:rPr lang="ru-RU" sz="1400" b="1" dirty="0" smtClean="0">
                <a:solidFill>
                  <a:schemeClr val="accent1"/>
                </a:solidFill>
              </a:rPr>
              <a:t>30 151,59 </a:t>
            </a:r>
            <a:r>
              <a:rPr lang="ru-RU" sz="1400" dirty="0"/>
              <a:t>тыс. </a:t>
            </a:r>
            <a:r>
              <a:rPr lang="ru-RU" sz="1400" dirty="0" smtClean="0"/>
              <a:t>тенге,  </a:t>
            </a:r>
            <a:r>
              <a:rPr lang="ru-RU" sz="1400" dirty="0"/>
              <a:t>превышение против утвержденной тарифной сметы на </a:t>
            </a:r>
            <a:r>
              <a:rPr lang="ru-RU" sz="1400" dirty="0" smtClean="0"/>
              <a:t>198%.</a:t>
            </a:r>
            <a:endParaRPr lang="ru-RU" sz="1400" dirty="0"/>
          </a:p>
          <a:p>
            <a:r>
              <a:rPr lang="ru-RU" sz="1400" dirty="0"/>
              <a:t>Перерасход затрат в целом по тарифной смете обусловлен ростом заработной платы, наличием затрат, которые не были предусмотрены в утверждённой тарифной смете, и инфляционным процессом. 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3</a:t>
            </a:r>
            <a:r>
              <a:rPr lang="ru-RU" sz="1400" b="1" dirty="0">
                <a:latin typeface="Arial (Основной текст)"/>
              </a:rPr>
              <a:t>. Информация об объемах предоставленных услуг </a:t>
            </a:r>
            <a:endParaRPr lang="en-US" sz="1400" b="1" dirty="0">
              <a:latin typeface="Arial (Основной текст)"/>
            </a:endParaRPr>
          </a:p>
          <a:p>
            <a:r>
              <a:rPr lang="ru-RU" sz="1400" dirty="0"/>
              <a:t>В утвержденной тарифной смете объем оказываемых услуг составляет 362 тыс. м3. </a:t>
            </a:r>
          </a:p>
          <a:p>
            <a:r>
              <a:rPr lang="ru-RU" sz="1400" dirty="0"/>
              <a:t>Фактический объем оказываемых услуг за 1 полугодие 2025 года составил 180,759 тыс. м3.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latin typeface="Arial (Основной текст)"/>
              </a:rPr>
              <a:t>4</a:t>
            </a:r>
            <a:r>
              <a:rPr lang="ru-RU" sz="1400" b="1" dirty="0">
                <a:latin typeface="Arial (Основной текст)"/>
              </a:rPr>
              <a:t>. Информация об основных финансово-экономических показателях </a:t>
            </a:r>
          </a:p>
          <a:p>
            <a:r>
              <a:rPr lang="ru-RU" sz="1400" dirty="0">
                <a:latin typeface="Arial (Основной текст)"/>
              </a:rPr>
              <a:t>Доход –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7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593,69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, </a:t>
            </a:r>
          </a:p>
          <a:p>
            <a:r>
              <a:rPr lang="ru-RU" sz="1400" dirty="0">
                <a:latin typeface="Arial (Основной текст)"/>
              </a:rPr>
              <a:t>Затраты –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30 151,59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. </a:t>
            </a:r>
          </a:p>
          <a:p>
            <a:r>
              <a:rPr lang="ru-RU" sz="1400" dirty="0">
                <a:latin typeface="Arial (Основной текст)"/>
              </a:rPr>
              <a:t>Убыток –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22 </a:t>
            </a:r>
            <a:r>
              <a:rPr lang="ru-RU" sz="1400" b="1" dirty="0" smtClean="0">
                <a:solidFill>
                  <a:schemeClr val="accent1"/>
                </a:solidFill>
                <a:latin typeface="Arial (Основной текст)"/>
              </a:rPr>
              <a:t>557,9 </a:t>
            </a:r>
            <a:r>
              <a:rPr lang="ru-RU" sz="1400" dirty="0" smtClean="0">
                <a:latin typeface="Arial (Основной текст)"/>
              </a:rPr>
              <a:t>тыс</a:t>
            </a:r>
            <a:r>
              <a:rPr lang="ru-RU" sz="1400" dirty="0">
                <a:latin typeface="Arial (Основной текст)"/>
              </a:rPr>
              <a:t>. тенге </a:t>
            </a:r>
          </a:p>
          <a:p>
            <a:endParaRPr lang="ru-RU" sz="1400" dirty="0">
              <a:latin typeface="Arial (Основной текст)"/>
            </a:endParaRPr>
          </a:p>
          <a:p>
            <a:pPr algn="just" defTabSz="542925">
              <a:spcAft>
                <a:spcPts val="600"/>
              </a:spcAft>
              <a:tabLst>
                <a:tab pos="354013" algn="l"/>
              </a:tabLs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 полугодие 2025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год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сутствуют</a:t>
            </a:r>
          </a:p>
        </p:txBody>
      </p:sp>
    </p:spTree>
    <p:extLst>
      <p:ext uri="{BB962C8B-B14F-4D97-AF65-F5344CB8AC3E}">
        <p14:creationId xmlns:p14="http://schemas.microsoft.com/office/powerpoint/2010/main" val="30334897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1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7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- 1 832,67 </a:t>
            </a:r>
            <a:r>
              <a:rPr lang="ru-RU" sz="1600" dirty="0" smtClean="0"/>
              <a:t>тенге/Гкал,  1 полугодие 2025 г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 </a:t>
            </a:r>
            <a:r>
              <a:rPr lang="ru-RU" sz="1600" dirty="0" smtClean="0">
                <a:solidFill>
                  <a:schemeClr val="accent1"/>
                </a:solidFill>
              </a:rPr>
              <a:t>- 1908,69 </a:t>
            </a:r>
            <a:r>
              <a:rPr lang="ru-RU" sz="1600" dirty="0" smtClean="0"/>
              <a:t>тенге/Гкал,   2 полугодие 2025 г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42,01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– мазут 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3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Информация об исполнении утвержденной инвестиционной </a:t>
            </a:r>
            <a:r>
              <a:rPr lang="ru-RU" b="0" dirty="0" smtClean="0">
                <a:solidFill>
                  <a:schemeClr val="accent1"/>
                </a:solidFill>
              </a:rPr>
              <a:t>программы за 1 полугодие 2025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051607"/>
              </p:ext>
            </p:extLst>
          </p:nvPr>
        </p:nvGraphicFramePr>
        <p:xfrm>
          <a:off x="242134" y="1441460"/>
          <a:ext cx="11517246" cy="4581454"/>
        </p:xfrm>
        <a:graphic>
          <a:graphicData uri="http://schemas.openxmlformats.org/drawingml/2006/table">
            <a:tbl>
              <a:tblPr/>
              <a:tblGrid>
                <a:gridCol w="184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27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6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32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227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2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309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9404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1052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211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702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2446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14632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94967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1463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3597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65471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55638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481781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875070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</a:tblGrid>
              <a:tr h="381120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чет о прибылях и убытках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умма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программы, тысяч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906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ственные средства (тыс. тенге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3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бы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948051"/>
                  </a:ext>
                </a:extLst>
              </a:tr>
              <a:tr h="19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310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изводство тепловой энергии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питальный ремонт внешних трубопроводов системы отопл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dirty="0" smtClean="0"/>
                        <a:t>116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dirty="0" smtClean="0"/>
                        <a:t>     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5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40067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26 80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26 80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ведение капитальных ремонтов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планирован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 2 полугодии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99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69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ведение капитальных ремонтов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планирован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 2 полугодии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олненные  работы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дут направлены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 поддержание основных средств Электрической станции в рабочем состоянии, что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зволит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еспечить бесперебойную подачу тепла потребителя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51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40067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 80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6 80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3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993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9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5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3748005"/>
              </p:ext>
            </p:extLst>
          </p:nvPr>
        </p:nvGraphicFramePr>
        <p:xfrm>
          <a:off x="427091" y="901897"/>
          <a:ext cx="11172824" cy="5213698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046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392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3 11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3 659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9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4 874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 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ная смета будет исполнен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4 677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ная смета будет исполнен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97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258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59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84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2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3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профес.пенсион.взнос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905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6 049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</a:t>
                      </a: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8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77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100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екущий ремонт, согласно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графику ремонта запланирован на 2 полугодие 2025 г., проводятся закупочные процедур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374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3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6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627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земли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2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арифная смета будет исполнен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2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Ожидается превышение тарифной сметы по году, за счет повышения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4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496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18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1 полугодие 2025 года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1120741"/>
              </p:ext>
            </p:extLst>
          </p:nvPr>
        </p:nvGraphicFramePr>
        <p:xfrm>
          <a:off x="199750" y="1876298"/>
          <a:ext cx="11535611" cy="3325592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457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5827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0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7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7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9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1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в связи с повышением заработной платы 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2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8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9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жидается превышение тарифной сметы по году, 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счет увеличения стоимости услуги по пользованию электронной торговой площадкой, с апреля 2025 г.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24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0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меньшение произошло за счет предоставленного потенциальным поставщиком ценового предложения на меньшую сумм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меньшение произошло за счет оптимизации численности персонала отдела сбыта</a:t>
                      </a:r>
                      <a:endParaRPr lang="ru-RU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703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 32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3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6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99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0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6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715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31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 58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2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666947"/>
              </p:ext>
            </p:extLst>
          </p:nvPr>
        </p:nvGraphicFramePr>
        <p:xfrm>
          <a:off x="183504" y="1171448"/>
          <a:ext cx="11544300" cy="692359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xmlns="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xmlns="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xmlns="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xmlns="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xmlns="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xmlns="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xmlns="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504198"/>
              </p:ext>
            </p:extLst>
          </p:nvPr>
        </p:nvGraphicFramePr>
        <p:xfrm>
          <a:off x="199750" y="5214381"/>
          <a:ext cx="11543166" cy="630433"/>
        </p:xfrm>
        <a:graphic>
          <a:graphicData uri="http://schemas.openxmlformats.org/drawingml/2006/table">
            <a:tbl>
              <a:tblPr/>
              <a:tblGrid>
                <a:gridCol w="3440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57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66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3127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5224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583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0548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41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8892"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2,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32,6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77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409,0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0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5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1017621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626209"/>
            <a:ext cx="112928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600" dirty="0" smtClean="0"/>
              <a:t>2025 </a:t>
            </a:r>
            <a:r>
              <a:rPr lang="ru-RU" sz="1600" dirty="0"/>
              <a:t>года</a:t>
            </a:r>
          </a:p>
        </p:txBody>
      </p:sp>
      <p:grpSp>
        <p:nvGrpSpPr>
          <p:cNvPr id="23" name="Group 481"/>
          <p:cNvGrpSpPr/>
          <p:nvPr/>
        </p:nvGrpSpPr>
        <p:grpSpPr>
          <a:xfrm>
            <a:off x="462199" y="940120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6540421"/>
              </p:ext>
            </p:extLst>
          </p:nvPr>
        </p:nvGraphicFramePr>
        <p:xfrm>
          <a:off x="462198" y="2697932"/>
          <a:ext cx="11280027" cy="1905256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857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645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543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9150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22971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6452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606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5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7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597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,7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/>
                        <a:t>Оценка достижения показателя будет осуществлена по результатам выполнения мероприятий, предусмотренных в утвержденной инвестиционной программе, по итогам 2025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4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7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1 полугодие 2025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69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21986282"/>
              </p:ext>
            </p:extLst>
          </p:nvPr>
        </p:nvGraphicFramePr>
        <p:xfrm>
          <a:off x="2141538" y="2343150"/>
          <a:ext cx="3740150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67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2877188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70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9355931"/>
              </p:ext>
            </p:extLst>
          </p:nvPr>
        </p:nvGraphicFramePr>
        <p:xfrm>
          <a:off x="1654175" y="4284663"/>
          <a:ext cx="2960688" cy="89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71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01997093"/>
              </p:ext>
            </p:extLst>
          </p:nvPr>
        </p:nvGraphicFramePr>
        <p:xfrm>
          <a:off x="1365250" y="4978400"/>
          <a:ext cx="2960688" cy="88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68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39725519"/>
              </p:ext>
            </p:extLst>
          </p:nvPr>
        </p:nvGraphicFramePr>
        <p:xfrm>
          <a:off x="2141538" y="3598863"/>
          <a:ext cx="1755775" cy="93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1 полугодие 2025 года </a:t>
            </a:r>
            <a:r>
              <a:rPr lang="en-US" sz="1200" b="0" dirty="0" smtClean="0"/>
              <a:t>25 </a:t>
            </a:r>
            <a:r>
              <a:rPr lang="ru-RU" sz="1200" b="0" dirty="0" smtClean="0"/>
              <a:t>417</a:t>
            </a:r>
            <a:r>
              <a:rPr lang="en-US" sz="1200" b="0" dirty="0" smtClean="0"/>
              <a:t> </a:t>
            </a:r>
            <a:r>
              <a:rPr lang="ru-RU" sz="1200" b="0" dirty="0" smtClean="0"/>
              <a:t>Гкал</a:t>
            </a:r>
          </a:p>
        </p:txBody>
      </p:sp>
      <p:graphicFrame>
        <p:nvGraphicFramePr>
          <p:cNvPr id="99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8010907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49" name="Прямоугольник 148"/>
          <p:cNvSpPr/>
          <p:nvPr>
            <p:custDataLst>
              <p:tags r:id="rId9"/>
            </p:custDataLst>
          </p:nvPr>
        </p:nvSpPr>
        <p:spPr bwMode="auto">
          <a:xfrm>
            <a:off x="10410825" y="3886200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0"/>
            </p:custDataLst>
          </p:nvPr>
        </p:nvSpPr>
        <p:spPr bwMode="auto">
          <a:xfrm>
            <a:off x="7234238" y="4837113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1"/>
            </p:custDataLst>
          </p:nvPr>
        </p:nvSpPr>
        <p:spPr bwMode="auto">
          <a:xfrm>
            <a:off x="7345363" y="4546600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2"/>
            </p:custDataLst>
          </p:nvPr>
        </p:nvSpPr>
        <p:spPr bwMode="auto">
          <a:xfrm>
            <a:off x="6564313" y="3168650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3"/>
            </p:custDataLst>
          </p:nvPr>
        </p:nvSpPr>
        <p:spPr bwMode="auto">
          <a:xfrm>
            <a:off x="6883400" y="2220913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03C946-1F93-43E4-BB95-00C852A9C9B4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14"/>
            </p:custDataLst>
          </p:nvPr>
        </p:nvSpPr>
        <p:spPr bwMode="auto">
          <a:xfrm>
            <a:off x="8831263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>
            <p:custDataLst>
              <p:tags r:id="rId15"/>
            </p:custDataLst>
          </p:nvPr>
        </p:nvSpPr>
        <p:spPr bwMode="gray">
          <a:xfrm>
            <a:off x="8045450" y="4270374"/>
            <a:ext cx="273050" cy="247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1962251-168B-4CA9-A2A9-EC0BC2AF32D5}" type="datetime'''5''''''''''''9''''''''''''''1'''''''''">
              <a:rPr lang="ru-RU" altLang="en-US" sz="900" smtClean="0">
                <a:solidFill>
                  <a:schemeClr val="tx1"/>
                </a:solidFill>
              </a:rPr>
              <a:pPr/>
              <a:t>591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20382AE4-41EE-4675-9831-E75CC2D07AD3}" type="datetime'''''''''''''''''''''''''''''''''''''''''''2%'''''''''''">
              <a:rPr lang="ru-RU" altLang="en-US" sz="900" smtClean="0">
                <a:solidFill>
                  <a:schemeClr val="tx1"/>
                </a:solidFill>
              </a:rPr>
              <a:pPr/>
              <a:t>2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6"/>
            </p:custDataLst>
          </p:nvPr>
        </p:nvSpPr>
        <p:spPr bwMode="gray">
          <a:xfrm>
            <a:off x="8897938" y="2682874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C317D8-184E-4B46-9526-EF6D94430772}" type="datetime'''''''6''''''''''''''''''''''''''''''0'">
              <a:rPr lang="ru-RU" altLang="en-US" sz="900" smtClean="0">
                <a:solidFill>
                  <a:schemeClr val="tx1"/>
                </a:solidFill>
              </a:rPr>
              <a:pPr/>
              <a:t>60</a:t>
            </a:fld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9A7339CC-F491-48B0-A0D6-A7A2B33AB60A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7"/>
            </p:custDataLst>
          </p:nvPr>
        </p:nvSpPr>
        <p:spPr bwMode="gray">
          <a:xfrm>
            <a:off x="9958388" y="3775074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CAE321-B95F-46D7-BC8B-6F89E98F2D11}" type="datetime'1''''''''''''''4'''' 18''''''''''''''''''''''''''''''''''3'">
              <a:rPr lang="ru-RU" altLang="en-US" sz="900" smtClean="0">
                <a:solidFill>
                  <a:schemeClr val="bg1"/>
                </a:solidFill>
              </a:rPr>
              <a:pPr/>
              <a:t>14 183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C288DE43-0C95-4084-9506-FD6235220243}" type="datetime'''''''''''''5''''''''6''''''%'''''''''''''''''''''''''''">
              <a:rPr lang="ru-RU" altLang="en-US" sz="900" smtClean="0">
                <a:solidFill>
                  <a:schemeClr val="bg1"/>
                </a:solidFill>
              </a:rPr>
              <a:pPr/>
              <a:t>56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8"/>
            </p:custDataLst>
          </p:nvPr>
        </p:nvSpPr>
        <p:spPr bwMode="gray">
          <a:xfrm>
            <a:off x="8248650" y="4518024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54BB2C8-D8C7-4C88-A59B-CCC3402B11B1}" type="datetime'''''1'''''''''''''' ''''''8''''1''''''''''''''''7'''''''''''''">
              <a:rPr lang="ru-RU" altLang="en-US" sz="900" smtClean="0">
                <a:solidFill>
                  <a:schemeClr val="bg1"/>
                </a:solidFill>
              </a:rPr>
              <a:pPr/>
              <a:t>1 817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4D866C16-7BED-46DC-81F1-FC5DF8C73E74}" type="datetime'''''''''''''''''''''7''''''''''''''''''''''''''''''%''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9"/>
            </p:custDataLst>
          </p:nvPr>
        </p:nvSpPr>
        <p:spPr bwMode="gray">
          <a:xfrm>
            <a:off x="7767638" y="3279774"/>
            <a:ext cx="33655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CBCCDB-84A5-4EB8-8F21-9D02AE9D4A27}" type="datetime'''''''''''''''7'''' ''''''''''''''''''''''''0''''''''28'">
              <a:rPr lang="ru-RU" altLang="en-US" sz="900" smtClean="0">
                <a:solidFill>
                  <a:schemeClr val="bg1"/>
                </a:solidFill>
              </a:rPr>
              <a:pPr/>
              <a:t>7 028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4849B887-892A-4516-AD60-79D3BD10D78B}" type="datetime'''2''''''8''''%'">
              <a:rPr lang="ru-RU" altLang="en-US" sz="900" smtClean="0">
                <a:solidFill>
                  <a:schemeClr val="bg1"/>
                </a:solidFill>
              </a:rPr>
              <a:pPr/>
              <a:t>2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20"/>
            </p:custDataLst>
          </p:nvPr>
        </p:nvSpPr>
        <p:spPr bwMode="gray">
          <a:xfrm>
            <a:off x="8616950" y="2435224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F6398E0-5C5E-4977-BF63-74D11C860783}" type="datetime'''''''''''''1'''''''' ''''''''''''''''7''''3''''''''''''8'''''">
              <a:rPr lang="ru-RU" altLang="en-US" sz="900" smtClean="0">
                <a:solidFill>
                  <a:schemeClr val="bg1"/>
                </a:solidFill>
              </a:rPr>
              <a:pPr/>
              <a:t>1 738</a:t>
            </a:fld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6CBBB781-E915-452A-8EB5-0326274E9E8C}" type="datetime'''''''''''''''''''''''''''''''7''''%'''''''''''''">
              <a:rPr lang="ru-RU" altLang="en-US" sz="900" smtClean="0">
                <a:solidFill>
                  <a:schemeClr val="bg1"/>
                </a:solidFill>
              </a:rPr>
              <a:pPr/>
              <a:t>7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9854121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80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371650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110317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14780" y="1874838"/>
            <a:ext cx="2624373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10316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1 полугодие  2025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За 1 полугодие 2025 года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задействованного 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286780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463182" y="1874838"/>
            <a:ext cx="251883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9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ГОСТы и СанПиНы: регламентируют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состав и качество питьевой воды, параметры теплоносителя, температурные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режимы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авила технической эксплуатации: для инженерных систем и оборудования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Использование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энергоэффективного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оборудования и технологий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Контроль потерь воды и тепла на всех этапах доставки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Лабораторный анализ воды: проводится регулярно для проверки на соответствие нормам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ониторинг температур и давления в теплосетях и на выходе из источников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а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Оперативное реагирование на жалобы и обращения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роведение разъяснительной работы и предоставление прозрачной информации об услугах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Регулярное техническое обслуживание и ремонт сетей. Модернизация оборудования, замена изношенных труб и теплообменников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Автоматизация систем управления и диспетчеризация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 smtClean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>
                <a:solidFill>
                  <a:schemeClr val="tx1"/>
                </a:solidFill>
                <a:sym typeface="Open Sans"/>
              </a:rPr>
              <a:t>Подготовка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и сертификация специалистов, работающих на объектах водо- и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теплоснабжения. Аттестация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2926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Периодическое повышение квалификации является обязательным </a:t>
            </a:r>
            <a:r>
              <a:rPr lang="ru-RU" dirty="0" smtClean="0">
                <a:solidFill>
                  <a:schemeClr val="tx1"/>
                </a:solidFill>
                <a:sym typeface="Open Sans"/>
              </a:rPr>
              <a:t>для ИТР, 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мастеров и операторов</a:t>
            </a:r>
            <a:r>
              <a:rPr lang="en-US" dirty="0" smtClean="0">
                <a:solidFill>
                  <a:schemeClr val="tx1"/>
                </a:solidFill>
                <a:sym typeface="Open Sans"/>
              </a:rPr>
              <a:t>.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Регулируемые услуги оказываются с учетом требований к качеству, установленных государственными органами в пределах их компетенции</a:t>
            </a: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Качество предоставляемых услуг обеспечиваетс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sym typeface="Open Sans"/>
              </a:rPr>
              <a:t>Соблюдение нормативных требований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онтроль качества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Надёжность и состояние инфраструктур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Квалификация персонала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Работа с потребителями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>
                <a:solidFill>
                  <a:schemeClr val="accent1"/>
                </a:solidFill>
                <a:sym typeface="Open Sans"/>
              </a:rPr>
              <a:t>Энергосбережение и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ресурсоэффективность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79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Z473MI71LRUEmKskgH0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Cerh2rufuCQ01t_XZ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p410JmzyEdXN1xp3hA8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5SSKTs_Zqij1GOgMj_F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5p1mOtvU1lH1_6XR4D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hig3Idp87FjXcrEZrp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Props1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5EE0E1E-0B15-4740-95FC-5FF23274634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5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703</TotalTime>
  <Words>2025</Words>
  <Application>Microsoft Office PowerPoint</Application>
  <PresentationFormat>Широкоэкранный</PresentationFormat>
  <Paragraphs>516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(Основной текст)</vt:lpstr>
      <vt:lpstr>Calibri</vt:lpstr>
      <vt:lpstr>Montserrat</vt:lpstr>
      <vt:lpstr>Open Sans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за 1 полугодие 2025 года</vt:lpstr>
      <vt:lpstr>ЕЭК: Информация о постатейном исполнении утвержденной тарифной сметы по производству тепловой энергии за 1 полугодие 2025 года</vt:lpstr>
      <vt:lpstr>ЕЭК: Отчет о постатейном исполнении утвержденной тарифной сметы по производству тепловой энергии за 1 полугодие 2025 года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1 полугодие 2025 года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1 полугодие 2025 года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Информация об оказываемой услуге – подача воды по распределительным сетям (малая мощность)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390</cp:revision>
  <cp:lastPrinted>2023-07-12T08:24:27Z</cp:lastPrinted>
  <dcterms:created xsi:type="dcterms:W3CDTF">2017-11-25T12:09:27Z</dcterms:created>
  <dcterms:modified xsi:type="dcterms:W3CDTF">2025-07-15T09:2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